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45" r:id="rId20"/>
    <p:sldId id="446" r:id="rId21"/>
    <p:sldId id="447" r:id="rId22"/>
    <p:sldId id="429" r:id="rId23"/>
    <p:sldId id="454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7</Words>
  <Application>Microsoft Office PowerPoint</Application>
  <PresentationFormat>Breitbild</PresentationFormat>
  <Paragraphs>345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20T12:41:24Z</dcterms:modified>
</cp:coreProperties>
</file>